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74"/>
  </p:notesMasterIdLst>
  <p:handoutMasterIdLst>
    <p:handoutMasterId r:id="rId75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317" r:id="rId31"/>
    <p:sldId id="304" r:id="rId32"/>
    <p:sldId id="276" r:id="rId33"/>
    <p:sldId id="284" r:id="rId34"/>
    <p:sldId id="275" r:id="rId35"/>
    <p:sldId id="316" r:id="rId36"/>
    <p:sldId id="295" r:id="rId37"/>
    <p:sldId id="315" r:id="rId38"/>
    <p:sldId id="318" r:id="rId39"/>
    <p:sldId id="297" r:id="rId40"/>
    <p:sldId id="293" r:id="rId41"/>
    <p:sldId id="294" r:id="rId42"/>
    <p:sldId id="271" r:id="rId43"/>
    <p:sldId id="274" r:id="rId44"/>
    <p:sldId id="321" r:id="rId45"/>
    <p:sldId id="280" r:id="rId46"/>
    <p:sldId id="279" r:id="rId47"/>
    <p:sldId id="292" r:id="rId48"/>
    <p:sldId id="291" r:id="rId49"/>
    <p:sldId id="310" r:id="rId50"/>
    <p:sldId id="325" r:id="rId51"/>
    <p:sldId id="329" r:id="rId52"/>
    <p:sldId id="308" r:id="rId53"/>
    <p:sldId id="328" r:id="rId54"/>
    <p:sldId id="322" r:id="rId55"/>
    <p:sldId id="326" r:id="rId56"/>
    <p:sldId id="330" r:id="rId57"/>
    <p:sldId id="331" r:id="rId58"/>
    <p:sldId id="332" r:id="rId59"/>
    <p:sldId id="324" r:id="rId60"/>
    <p:sldId id="335" r:id="rId61"/>
    <p:sldId id="334" r:id="rId62"/>
    <p:sldId id="336" r:id="rId63"/>
    <p:sldId id="309" r:id="rId64"/>
    <p:sldId id="327" r:id="rId65"/>
    <p:sldId id="337" r:id="rId66"/>
    <p:sldId id="338" r:id="rId67"/>
    <p:sldId id="339" r:id="rId68"/>
    <p:sldId id="340" r:id="rId69"/>
    <p:sldId id="341" r:id="rId70"/>
    <p:sldId id="290" r:id="rId71"/>
    <p:sldId id="281" r:id="rId72"/>
    <p:sldId id="289" r:id="rId73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91" d="100"/>
          <a:sy n="91" d="100"/>
        </p:scale>
        <p:origin x="43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notesMaster" Target="notesMasters/notesMaster1.xml"/><Relationship Id="rId79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 smtClean="0"/>
            <a:t>Não sei o quanto sei</a:t>
          </a:r>
          <a:endParaRPr lang="pt-BR" dirty="0"/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 smtClean="0"/>
            <a:t>Sei que Sei</a:t>
          </a:r>
          <a:endParaRPr lang="pt-BR" dirty="0"/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 smtClean="0"/>
            <a:t>Sei que não sei</a:t>
          </a:r>
          <a:endParaRPr lang="pt-BR" dirty="0"/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 smtClean="0"/>
            <a:t>Não sei que não sei</a:t>
          </a:r>
          <a:endParaRPr lang="pt-BR" dirty="0"/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 smtClean="0"/>
            <a:t>+Competência</a:t>
          </a:r>
          <a:endParaRPr lang="pt-BR" dirty="0"/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 smtClean="0"/>
            <a:t>++Competência</a:t>
          </a:r>
          <a:endParaRPr lang="pt-BR" dirty="0"/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mpetência</a:t>
          </a:r>
          <a:endParaRPr lang="pt-BR" sz="1200" kern="1200" dirty="0"/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+Competência</a:t>
          </a:r>
          <a:endParaRPr lang="pt-BR" sz="1200" kern="1200" dirty="0"/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o quanto sei</a:t>
          </a:r>
          <a:endParaRPr lang="pt-BR" sz="1800" kern="1200" dirty="0"/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Sei</a:t>
          </a:r>
          <a:endParaRPr lang="pt-BR" sz="1800" kern="1200" dirty="0"/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não sei</a:t>
          </a:r>
          <a:endParaRPr lang="pt-BR" sz="1800" kern="1200" dirty="0"/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que não sei</a:t>
          </a:r>
          <a:endParaRPr lang="pt-BR" sz="1800" kern="1200" dirty="0"/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23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23/11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4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 smtClean="0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 smtClean="0">
                <a:latin typeface="Corbel" panose="020B0503020204020204" pitchFamily="34" charset="0"/>
              </a:rPr>
              <a:t> e Bob </a:t>
            </a:r>
            <a:r>
              <a:rPr lang="pt-BR" sz="1800" dirty="0" err="1" smtClean="0">
                <a:latin typeface="Corbel" panose="020B0503020204020204" pitchFamily="34" charset="0"/>
              </a:rPr>
              <a:t>Frankston</a:t>
            </a:r>
            <a:r>
              <a:rPr lang="pt-BR" sz="1800" dirty="0" smtClean="0">
                <a:latin typeface="Corbel" panose="020B0503020204020204" pitchFamily="34" charset="0"/>
              </a:rPr>
              <a:t> baseada na </a:t>
            </a:r>
            <a:r>
              <a:rPr lang="pt-BR" sz="1800" dirty="0" err="1" smtClean="0">
                <a:latin typeface="Corbel" panose="020B0503020204020204" pitchFamily="34" charset="0"/>
              </a:rPr>
              <a:t>idéia</a:t>
            </a:r>
            <a:r>
              <a:rPr lang="pt-BR" sz="1800" dirty="0" smtClean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 smtClean="0">
                <a:latin typeface="Corbel" panose="020B0503020204020204" pitchFamily="34" charset="0"/>
              </a:rPr>
              <a:t>MS-Dos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undaram a empresa </a:t>
            </a:r>
            <a:r>
              <a:rPr lang="pt-BR" sz="1800" dirty="0" err="1" smtClean="0">
                <a:latin typeface="Corbel" panose="020B0503020204020204" pitchFamily="34" charset="0"/>
              </a:rPr>
              <a:t>Visicalc</a:t>
            </a:r>
            <a:r>
              <a:rPr lang="pt-BR" sz="1800" dirty="0" smtClean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Concorrente: </a:t>
            </a:r>
            <a:r>
              <a:rPr lang="pt-BR" sz="1800" u="sng" dirty="0" err="1" smtClean="0">
                <a:latin typeface="Corbel" panose="020B0503020204020204" pitchFamily="34" charset="0"/>
              </a:rPr>
              <a:t>Supercalc</a:t>
            </a:r>
            <a:r>
              <a:rPr lang="pt-BR" sz="1800" u="sng" dirty="0" smtClean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pela </a:t>
            </a:r>
            <a:r>
              <a:rPr lang="pt-BR" sz="1800" dirty="0" err="1" smtClean="0">
                <a:latin typeface="Corbel" panose="020B0503020204020204" pitchFamily="34" charset="0"/>
              </a:rPr>
              <a:t>Sorcim</a:t>
            </a:r>
            <a:r>
              <a:rPr lang="pt-BR" sz="1800" dirty="0" smtClean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 smtClean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 smtClean="0">
                <a:latin typeface="Corbel" panose="020B0503020204020204" pitchFamily="34" charset="0"/>
              </a:rPr>
              <a:t>Sourcim</a:t>
            </a:r>
            <a:r>
              <a:rPr lang="pt-BR" sz="1800" dirty="0" smtClean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 smtClean="0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 smtClean="0">
                <a:latin typeface="Corbel" panose="020B0503020204020204" pitchFamily="34" charset="0"/>
              </a:rPr>
              <a:t>MS-Dos</a:t>
            </a:r>
            <a:r>
              <a:rPr lang="pt-BR" sz="1800" u="sng" dirty="0" smtClean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 smtClean="0">
                <a:latin typeface="Corbel" panose="020B0503020204020204" pitchFamily="34" charset="0"/>
              </a:rPr>
              <a:t>add-ins</a:t>
            </a:r>
            <a:r>
              <a:rPr lang="pt-BR" sz="1800" dirty="0" smtClean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</a:t>
            </a:r>
            <a:r>
              <a:rPr lang="pt-BR" sz="1800" smtClean="0">
                <a:latin typeface="Corbel" panose="020B0503020204020204" pitchFamily="34" charset="0"/>
              </a:rPr>
              <a:t>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 smtClean="0">
                <a:latin typeface="Corbel" panose="020B0503020204020204" pitchFamily="34" charset="0"/>
              </a:rPr>
              <a:t>Machintosh</a:t>
            </a:r>
            <a:r>
              <a:rPr lang="pt-BR" sz="1800" dirty="0" smtClean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5: </a:t>
            </a:r>
            <a:r>
              <a:rPr lang="pt-BR" sz="1800" dirty="0">
                <a:latin typeface="Corbel" panose="020B0503020204020204" pitchFamily="34" charset="0"/>
              </a:rPr>
              <a:t>Excel </a:t>
            </a:r>
            <a:r>
              <a:rPr lang="pt-BR" sz="1800" dirty="0" smtClean="0">
                <a:latin typeface="Corbel" panose="020B0503020204020204" pitchFamily="34" charset="0"/>
              </a:rPr>
              <a:t>1.0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intosh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7</a:t>
            </a:r>
            <a:r>
              <a:rPr lang="pt-BR" sz="1800" dirty="0">
                <a:latin typeface="Corbel" panose="020B0503020204020204" pitchFamily="34" charset="0"/>
              </a:rPr>
              <a:t>: Excel 2.0 para </a:t>
            </a:r>
            <a:r>
              <a:rPr lang="pt-BR" sz="1800" dirty="0" smtClean="0">
                <a:latin typeface="Corbel" panose="020B0503020204020204" pitchFamily="34" charset="0"/>
              </a:rPr>
              <a:t>Windows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0: Excel 3.0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2</a:t>
            </a:r>
            <a:r>
              <a:rPr lang="pt-BR" sz="1800" dirty="0">
                <a:latin typeface="Corbel" panose="020B0503020204020204" pitchFamily="34" charset="0"/>
              </a:rPr>
              <a:t>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1MM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linhas 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</a:t>
            </a:r>
            <a:r>
              <a:rPr lang="pt-BR" sz="1800" dirty="0" smtClean="0">
                <a:latin typeface="Corbel" panose="020B0503020204020204" pitchFamily="34" charset="0"/>
              </a:rPr>
              <a:t>no salári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</a:t>
            </a:r>
            <a:r>
              <a:rPr lang="pt-BR" sz="1800" dirty="0" smtClean="0">
                <a:latin typeface="Corbel" panose="020B0503020204020204" pitchFamily="34" charset="0"/>
              </a:rPr>
              <a:t>cedo. O QUE ESTÁ POR VIR (ML)?</a:t>
            </a:r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 smtClean="0"/>
              <a:t>Fundamentos - Área de Trabalho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ormulas</a:t>
              </a:r>
              <a:endParaRPr lang="pt-BR" b="1" dirty="0"/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Menu ou Guia</a:t>
              </a:r>
              <a:endParaRPr lang="pt-BR" b="1" dirty="0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Grupo de Ferramentas</a:t>
              </a:r>
              <a:endParaRPr lang="pt-BR" b="1" dirty="0"/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erramentas ou Comando</a:t>
              </a:r>
              <a:endParaRPr lang="pt-BR" b="1" dirty="0"/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aixa de Opções</a:t>
              </a:r>
              <a:endParaRPr lang="pt-BR" b="1" dirty="0"/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Caixa de Nomes</a:t>
              </a:r>
              <a:endParaRPr lang="pt-BR" b="1" dirty="0"/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erramentas de Acesso Rápido</a:t>
              </a:r>
              <a:endParaRPr lang="pt-BR" b="1" dirty="0"/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Linha</a:t>
              </a:r>
              <a:endParaRPr lang="pt-BR" b="1" dirty="0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Coluna</a:t>
              </a:r>
              <a:endParaRPr lang="pt-BR" b="1" dirty="0"/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Aba da Planilha</a:t>
              </a:r>
              <a:endParaRPr lang="pt-BR" b="1" dirty="0"/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Zoom</a:t>
              </a:r>
              <a:endParaRPr lang="pt-BR" b="1" dirty="0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o Arquivo</a:t>
              </a:r>
              <a:endParaRPr lang="pt-BR" b="1" dirty="0"/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Conceito mais importante do Excel</a:t>
            </a:r>
          </a:p>
          <a:p>
            <a:r>
              <a:rPr lang="pt-BR" dirty="0" smtClean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luna D</a:t>
            </a:r>
            <a:endParaRPr lang="pt-BR" dirty="0"/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Linha 5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= Célula D5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O que espera do Curs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Validação de dados: </a:t>
            </a:r>
            <a:r>
              <a:rPr lang="pt-BR" sz="1800" dirty="0">
                <a:latin typeface="Corbel" panose="020B0503020204020204" pitchFamily="34" charset="0"/>
              </a:rPr>
              <a:t>Guia </a:t>
            </a:r>
            <a:r>
              <a:rPr lang="pt-BR" sz="1800" dirty="0" smtClean="0">
                <a:latin typeface="Corbel" panose="020B0503020204020204" pitchFamily="34" charset="0"/>
              </a:rPr>
              <a:t>Dados, 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Função Média: Guia Fórmulas,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Biblioteca de Funções, </a:t>
            </a:r>
            <a:r>
              <a:rPr lang="pt-BR" sz="1800" dirty="0">
                <a:latin typeface="Corbel" panose="020B0503020204020204" pitchFamily="34" charset="0"/>
              </a:rPr>
              <a:t>Menu </a:t>
            </a:r>
            <a:r>
              <a:rPr lang="pt-BR" sz="1800" dirty="0" smtClean="0">
                <a:latin typeface="Corbel" panose="020B0503020204020204" pitchFamily="34" charset="0"/>
              </a:rPr>
              <a:t>Auto Soma, </a:t>
            </a:r>
            <a:r>
              <a:rPr lang="pt-BR" sz="1800" dirty="0">
                <a:latin typeface="Corbel" panose="020B0503020204020204" pitchFamily="34" charset="0"/>
              </a:rPr>
              <a:t>Comando </a:t>
            </a:r>
            <a:r>
              <a:rPr lang="pt-BR" sz="1800" dirty="0" smtClean="0">
                <a:latin typeface="Corbel" panose="020B0503020204020204" pitchFamily="34" charset="0"/>
              </a:rPr>
              <a:t>Média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planilha habilitado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suplemento (programa VBA de Excel).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s</a:t>
            </a:r>
            <a:r>
              <a:rPr lang="pt-BR" sz="1800" dirty="0" smtClean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</a:t>
            </a:r>
            <a:r>
              <a:rPr lang="pt-BR" sz="1800" dirty="0" smtClean="0">
                <a:latin typeface="Corbel" panose="020B0503020204020204" pitchFamily="34" charset="0"/>
              </a:rPr>
              <a:t> :  </a:t>
            </a:r>
            <a:r>
              <a:rPr lang="pt-BR" sz="1800" dirty="0">
                <a:latin typeface="Corbel" panose="020B0503020204020204" pitchFamily="34" charset="0"/>
              </a:rPr>
              <a:t>formato de </a:t>
            </a:r>
            <a:r>
              <a:rPr lang="pt-BR" sz="1800" dirty="0" smtClean="0">
                <a:latin typeface="Corbel" panose="020B0503020204020204" pitchFamily="34" charset="0"/>
              </a:rPr>
              <a:t>suplemento com macro antigo </a:t>
            </a:r>
            <a:r>
              <a:rPr lang="pt-BR" sz="1800" dirty="0">
                <a:latin typeface="Corbel" panose="020B0503020204020204" pitchFamily="34" charset="0"/>
              </a:rPr>
              <a:t>até versão 2003 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Csv</a:t>
            </a:r>
            <a:r>
              <a:rPr lang="pt-BR" sz="1800" dirty="0" smtClean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: formato padrão 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 (</a:t>
            </a:r>
            <a:r>
              <a:rPr lang="pt-BR" sz="1800" dirty="0" err="1" smtClean="0">
                <a:latin typeface="Corbel" panose="020B0503020204020204" pitchFamily="34" charset="0"/>
              </a:rPr>
              <a:t>e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 smtClean="0">
                <a:latin typeface="Corbel" panose="020B0503020204020204" pitchFamily="34" charset="0"/>
              </a:rPr>
              <a:t>treme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 smtClean="0">
                <a:latin typeface="Corbel" panose="020B0503020204020204" pitchFamily="34" charset="0"/>
              </a:rPr>
              <a:t>arkup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 smtClean="0">
                <a:latin typeface="Corbel" panose="020B0503020204020204" pitchFamily="34" charset="0"/>
              </a:rPr>
              <a:t>anguage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lique </a:t>
            </a:r>
            <a:r>
              <a:rPr lang="pt-BR" sz="1800" dirty="0">
                <a:latin typeface="Corbel" panose="020B0503020204020204" pitchFamily="34" charset="0"/>
              </a:rPr>
              <a:t>simples na célula &gt;&gt; Digitar &gt;&gt;[Confirma]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sobrescrever a informação que já </a:t>
            </a:r>
            <a:r>
              <a:rPr lang="pt-BR" sz="1800" dirty="0" smtClean="0">
                <a:latin typeface="Corbel" panose="020B0503020204020204" pitchFamily="34" charset="0"/>
              </a:rPr>
              <a:t>existe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habilitar edição completa da </a:t>
            </a:r>
            <a:r>
              <a:rPr lang="pt-BR" sz="1800" dirty="0" smtClean="0">
                <a:latin typeface="Corbel" panose="020B0503020204020204" pitchFamily="34" charset="0"/>
              </a:rPr>
              <a:t>célula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</a:t>
            </a:r>
            <a:r>
              <a:rPr lang="pt-BR" sz="1800" dirty="0" err="1" smtClean="0">
                <a:latin typeface="Corbel" panose="020B0503020204020204" pitchFamily="34" charset="0"/>
              </a:rPr>
              <a:t>Esc</a:t>
            </a:r>
            <a:r>
              <a:rPr lang="pt-BR" sz="1800" dirty="0" smtClean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 smtClean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iciadas </a:t>
            </a:r>
            <a:r>
              <a:rPr lang="pt-BR" sz="1800" dirty="0">
                <a:latin typeface="Corbel" panose="020B0503020204020204" pitchFamily="34" charset="0"/>
              </a:rPr>
              <a:t>sempre por “ = </a:t>
            </a:r>
            <a:r>
              <a:rPr lang="pt-BR" sz="1800" dirty="0" smtClean="0">
                <a:latin typeface="Corbel" panose="020B0503020204020204" pitchFamily="34" charset="0"/>
              </a:rPr>
              <a:t>“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 smtClean="0">
                <a:latin typeface="Corbel" panose="020B0503020204020204" pitchFamily="34" charset="0"/>
              </a:rPr>
              <a:t>Enter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 smtClean="0">
                <a:latin typeface="Corbel" panose="020B0503020204020204" pitchFamily="34" charset="0"/>
              </a:rPr>
              <a:t>Exponenciação</a:t>
            </a:r>
            <a:r>
              <a:rPr lang="pt-BR" sz="1800" dirty="0" smtClean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Absoluta (Congelar)  </a:t>
            </a:r>
            <a:r>
              <a:rPr lang="pt-BR" sz="1800" dirty="0">
                <a:latin typeface="Corbel" panose="020B0503020204020204" pitchFamily="34" charset="0"/>
              </a:rPr>
              <a:t>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B</a:t>
            </a:r>
            <a:r>
              <a:rPr lang="pt-BR" sz="1800" b="1" dirty="0" smtClean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Relativo&gt;&gt; B2 :: caminha junto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Biblioteca organizada por categoria de uso. Cada input/pedaço de função é chamado de “argumento” que fica dentro do </a:t>
            </a:r>
            <a:r>
              <a:rPr lang="pt-BR" sz="1800" dirty="0" err="1" smtClean="0"/>
              <a:t>parentesis</a:t>
            </a:r>
            <a:r>
              <a:rPr lang="pt-BR" sz="1800" dirty="0" smtClean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Pode </a:t>
            </a:r>
            <a:r>
              <a:rPr lang="pt-BR" sz="1800" dirty="0"/>
              <a:t>ou não possuir argumento.  </a:t>
            </a:r>
            <a:r>
              <a:rPr lang="pt-BR" sz="1800" dirty="0" smtClean="0"/>
              <a:t>Argumento pode ser opcional “[“ ou obrigatório.</a:t>
            </a: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=SOMA(num1</a:t>
            </a:r>
            <a:r>
              <a:rPr lang="pt-BR" sz="1800" dirty="0"/>
              <a:t>;[num2]) &gt;&gt; 2º Argumento é </a:t>
            </a:r>
            <a:r>
              <a:rPr lang="pt-BR" sz="1800" dirty="0" smtClean="0"/>
              <a:t>Opcional “[num2]”</a:t>
            </a:r>
          </a:p>
          <a:p>
            <a:pPr marL="0" indent="0">
              <a:buNone/>
            </a:pPr>
            <a:r>
              <a:rPr lang="pt-BR" sz="1800" dirty="0" smtClean="0"/>
              <a:t>Sem argumento  </a:t>
            </a:r>
            <a:r>
              <a:rPr lang="pt-BR" sz="1800" dirty="0"/>
              <a:t>= Hoje() </a:t>
            </a:r>
            <a:r>
              <a:rPr lang="pt-BR" sz="1800" dirty="0" smtClean="0"/>
              <a:t>&gt;&gt; 22/08/2018 -  normalmente usados para informação (não realizam calculo)</a:t>
            </a: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Caminho: botão função, Guia fórmulas, digitação direta na célula.</a:t>
            </a:r>
            <a:endParaRPr lang="pt-BR" sz="1800" dirty="0"/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DIV/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 smtClean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 smtClean="0">
                <a:latin typeface="Corbel" panose="020B0503020204020204" pitchFamily="34" charset="0"/>
              </a:rPr>
              <a:t>Ex</a:t>
            </a:r>
            <a:r>
              <a:rPr lang="pt-BR" sz="1800" dirty="0" smtClean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7:50 as 18:00 – Dúvidas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949215"/>
            <a:ext cx="9144000" cy="11270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O </a:t>
            </a:r>
            <a:r>
              <a:rPr lang="pt-BR" sz="1800" dirty="0"/>
              <a:t>recurso </a:t>
            </a:r>
            <a:r>
              <a:rPr lang="pt-BR" sz="1800" b="1" dirty="0"/>
              <a:t>Atingir Meta no Excel</a:t>
            </a:r>
            <a:r>
              <a:rPr lang="pt-BR" sz="1800" dirty="0"/>
              <a:t>, tem por finalidade alterar o valor de uma célula para que uma fórmula atinja </a:t>
            </a:r>
            <a:r>
              <a:rPr lang="pt-BR" sz="1800" dirty="0" smtClean="0"/>
              <a:t>o valor que queremos.</a:t>
            </a:r>
          </a:p>
          <a:p>
            <a:pPr marL="0" indent="0">
              <a:buNone/>
            </a:pPr>
            <a:r>
              <a:rPr lang="pt-BR" sz="1800" dirty="0" smtClean="0"/>
              <a:t>Caminho: Guia Dados&gt; Grupo Previsão &gt; Menu teste de </a:t>
            </a:r>
            <a:r>
              <a:rPr lang="pt-BR" sz="1800" dirty="0" err="1" smtClean="0"/>
              <a:t>Hipotese</a:t>
            </a:r>
            <a:r>
              <a:rPr lang="pt-BR" sz="1800" dirty="0" smtClean="0"/>
              <a:t> &gt; Comando Atingir Meta</a:t>
            </a:r>
          </a:p>
          <a:p>
            <a:pPr marL="0" indent="0">
              <a:buNone/>
            </a:pPr>
            <a:r>
              <a:rPr lang="pt-BR" sz="1800" dirty="0" smtClean="0"/>
              <a:t>No Exemplo quero saber qual o Volume de quantidades necessárias (Célula Verde) para que o lucro(célula laranja)  seja igual à “zero”.</a:t>
            </a:r>
            <a:endParaRPr lang="pt-BR" sz="1800" dirty="0"/>
          </a:p>
          <a:p>
            <a:endParaRPr lang="pt-BR" sz="18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46015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ngir Meta</a:t>
            </a: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70" y="2553316"/>
            <a:ext cx="1905000" cy="2676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662" y="3060102"/>
            <a:ext cx="2219325" cy="14478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2256" y="2534265"/>
            <a:ext cx="1933575" cy="2714625"/>
          </a:xfrm>
          <a:prstGeom prst="rect">
            <a:avLst/>
          </a:prstGeom>
        </p:spPr>
      </p:pic>
      <p:sp>
        <p:nvSpPr>
          <p:cNvPr id="13" name="Seta para a Direita 12"/>
          <p:cNvSpPr/>
          <p:nvPr/>
        </p:nvSpPr>
        <p:spPr>
          <a:xfrm>
            <a:off x="2969111" y="3582296"/>
            <a:ext cx="408790" cy="309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842325" y="5712311"/>
            <a:ext cx="1393506" cy="688489"/>
          </a:xfrm>
          <a:prstGeom prst="wedgeRoundRectCallout">
            <a:avLst>
              <a:gd name="adj1" fmla="val 27802"/>
              <a:gd name="adj2" fmla="val -115625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Solução Atendida</a:t>
            </a:r>
            <a:endParaRPr lang="pt-BR" sz="1000" dirty="0"/>
          </a:p>
        </p:txBody>
      </p:sp>
      <p:sp>
        <p:nvSpPr>
          <p:cNvPr id="16" name="Texto Explicativo Retangular com Cantos Arredondados 15"/>
          <p:cNvSpPr/>
          <p:nvPr/>
        </p:nvSpPr>
        <p:spPr>
          <a:xfrm>
            <a:off x="9672300" y="2635624"/>
            <a:ext cx="1554201" cy="633442"/>
          </a:xfrm>
          <a:prstGeom prst="wedgeRoundRectCallout">
            <a:avLst>
              <a:gd name="adj1" fmla="val -71784"/>
              <a:gd name="adj2" fmla="val 7813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Numero encontrado pelo comando atingir meta</a:t>
            </a:r>
            <a:endParaRPr lang="pt-BR" sz="1000" dirty="0"/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4491208" y="4870722"/>
            <a:ext cx="1377451" cy="496502"/>
          </a:xfrm>
          <a:prstGeom prst="wedgeRoundRectCallout">
            <a:avLst>
              <a:gd name="adj1" fmla="val -11280"/>
              <a:gd name="adj2" fmla="val -2301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ndereço da </a:t>
            </a:r>
            <a:r>
              <a:rPr lang="pt-BR" sz="1000" dirty="0" err="1" smtClean="0"/>
              <a:t>Celula</a:t>
            </a:r>
            <a:r>
              <a:rPr lang="pt-BR" sz="1000" dirty="0" smtClean="0"/>
              <a:t> onde esta o Numero que será Alterado</a:t>
            </a:r>
            <a:endParaRPr lang="pt-BR" sz="1000" dirty="0"/>
          </a:p>
        </p:txBody>
      </p:sp>
      <p:sp>
        <p:nvSpPr>
          <p:cNvPr id="18" name="Texto Explicativo Retangular com Cantos Arredondados 17"/>
          <p:cNvSpPr/>
          <p:nvPr/>
        </p:nvSpPr>
        <p:spPr>
          <a:xfrm>
            <a:off x="5868659" y="2168165"/>
            <a:ext cx="1294841" cy="633442"/>
          </a:xfrm>
          <a:prstGeom prst="wedgeRoundRectCallout">
            <a:avLst>
              <a:gd name="adj1" fmla="val -100855"/>
              <a:gd name="adj2" fmla="val 16405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ndereço da célula onde esta o valor que queremos como ALVO</a:t>
            </a:r>
            <a:endParaRPr lang="pt-BR" sz="1000" dirty="0"/>
          </a:p>
        </p:txBody>
      </p:sp>
      <p:sp>
        <p:nvSpPr>
          <p:cNvPr id="19" name="Texto Explicativo Retangular com Cantos Arredondados 18"/>
          <p:cNvSpPr/>
          <p:nvPr/>
        </p:nvSpPr>
        <p:spPr>
          <a:xfrm>
            <a:off x="5992426" y="4507902"/>
            <a:ext cx="1171074" cy="444423"/>
          </a:xfrm>
          <a:prstGeom prst="wedgeRoundRectCallout">
            <a:avLst>
              <a:gd name="adj1" fmla="val -74664"/>
              <a:gd name="adj2" fmla="val -2253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O Valor que queremos como ALVO</a:t>
            </a:r>
            <a:endParaRPr lang="pt-BR" sz="1000" dirty="0"/>
          </a:p>
        </p:txBody>
      </p:sp>
      <p:sp>
        <p:nvSpPr>
          <p:cNvPr id="20" name="Igual a 19"/>
          <p:cNvSpPr/>
          <p:nvPr/>
        </p:nvSpPr>
        <p:spPr>
          <a:xfrm>
            <a:off x="6282466" y="3269066"/>
            <a:ext cx="881034" cy="62251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02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 smtClean="0">
                <a:latin typeface="Corbel" panose="020B0503020204020204" pitchFamily="34" charset="0"/>
              </a:rPr>
              <a:t>mesclagem</a:t>
            </a:r>
            <a:r>
              <a:rPr lang="pt-BR" sz="1800" dirty="0" smtClean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enu flutuante/contexto (botão direito)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 smtClean="0">
                <a:latin typeface="Corbel" panose="020B0503020204020204" pitchFamily="34" charset="0"/>
              </a:rPr>
              <a:t>Ctrl+C</a:t>
            </a:r>
            <a:r>
              <a:rPr lang="pt-BR" sz="1800" dirty="0" smtClean="0">
                <a:latin typeface="Corbel" panose="020B0503020204020204" pitchFamily="34" charset="0"/>
              </a:rPr>
              <a:t> , </a:t>
            </a:r>
            <a:r>
              <a:rPr lang="pt-BR" sz="1800" dirty="0" err="1" smtClean="0">
                <a:latin typeface="Corbel" panose="020B0503020204020204" pitchFamily="34" charset="0"/>
              </a:rPr>
              <a:t>CTrl+V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 smtClean="0">
                <a:latin typeface="Corbel" panose="020B0503020204020204" pitchFamily="34" charset="0"/>
              </a:rPr>
              <a:t>Backspace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inha: </a:t>
            </a:r>
            <a:r>
              <a:rPr lang="pt-BR" sz="1800" dirty="0">
                <a:latin typeface="Corbel" panose="020B0503020204020204" pitchFamily="34" charset="0"/>
              </a:rPr>
              <a:t>Selecionar a </a:t>
            </a:r>
            <a:r>
              <a:rPr lang="pt-BR" sz="1800" dirty="0" smtClean="0">
                <a:latin typeface="Corbel" panose="020B0503020204020204" pitchFamily="34" charset="0"/>
              </a:rPr>
              <a:t>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</a:t>
            </a:r>
            <a:r>
              <a:rPr lang="pt-BR" sz="1800" dirty="0" smtClean="0">
                <a:latin typeface="Corbel" panose="020B0503020204020204" pitchFamily="34" charset="0"/>
              </a:rPr>
              <a:t>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OCULTAR informações </a:t>
            </a:r>
            <a:r>
              <a:rPr lang="pt-BR" sz="1800" dirty="0">
                <a:latin typeface="Corbel" panose="020B0503020204020204" pitchFamily="34" charset="0"/>
              </a:rPr>
              <a:t>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 : </a:t>
            </a:r>
            <a:r>
              <a:rPr lang="pt-BR" sz="1800" dirty="0">
                <a:latin typeface="Corbel" panose="020B0503020204020204" pitchFamily="34" charset="0"/>
              </a:rPr>
              <a:t>Selecionar a coluna </a:t>
            </a:r>
            <a:r>
              <a:rPr lang="pt-BR" sz="1800" dirty="0" smtClean="0">
                <a:latin typeface="Corbel" panose="020B0503020204020204" pitchFamily="34" charset="0"/>
              </a:rPr>
              <a:t>ou 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</a:t>
            </a:r>
            <a:r>
              <a:rPr lang="pt-BR" sz="1800" dirty="0" smtClean="0">
                <a:latin typeface="Corbel" panose="020B0503020204020204" pitchFamily="34" charset="0"/>
              </a:rPr>
              <a:t>“Ocultar” / Guia </a:t>
            </a:r>
            <a:r>
              <a:rPr lang="pt-BR" sz="1800" dirty="0">
                <a:latin typeface="Corbel" panose="020B0503020204020204" pitchFamily="34" charset="0"/>
              </a:rPr>
              <a:t>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DESOCULTAR </a:t>
            </a:r>
            <a:r>
              <a:rPr lang="pt-BR" sz="1800" dirty="0">
                <a:latin typeface="Corbel" panose="020B0503020204020204" pitchFamily="34" charset="0"/>
              </a:rPr>
              <a:t>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: </a:t>
            </a:r>
            <a:r>
              <a:rPr lang="pt-BR" sz="1800" dirty="0">
                <a:latin typeface="Corbel" panose="020B0503020204020204" pitchFamily="34" charset="0"/>
              </a:rPr>
              <a:t>Selecionar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 smtClean="0">
                <a:latin typeface="Corbel" panose="020B0503020204020204" pitchFamily="34" charset="0"/>
              </a:rPr>
              <a:t>da coluna/linha </a:t>
            </a:r>
            <a:r>
              <a:rPr lang="pt-BR" sz="1800" dirty="0">
                <a:latin typeface="Corbel" panose="020B0503020204020204" pitchFamily="34" charset="0"/>
              </a:rPr>
              <a:t>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 smtClean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 smtClean="0"/>
              <a:t>Disponível pelo seta preta  + duplo clique ou clicar, segurar e arrastar.</a:t>
            </a:r>
          </a:p>
          <a:p>
            <a:endParaRPr lang="pt-BR" sz="2000" dirty="0" smtClean="0"/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278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err="1" smtClean="0"/>
              <a:t>Area</a:t>
            </a:r>
            <a:r>
              <a:rPr lang="pt-BR" sz="2000" dirty="0" smtClean="0"/>
              <a:t> de Trabalho, Tipo de arquivos, salvar, abrir</a:t>
            </a:r>
          </a:p>
          <a:p>
            <a:r>
              <a:rPr lang="pt-BR" sz="2000" dirty="0" smtClean="0"/>
              <a:t>Inserir dados, inserir linha e coluna</a:t>
            </a:r>
          </a:p>
          <a:p>
            <a:r>
              <a:rPr lang="pt-BR" sz="2000" dirty="0" err="1" smtClean="0"/>
              <a:t>Exluir</a:t>
            </a:r>
            <a:r>
              <a:rPr lang="pt-BR" sz="2000" dirty="0" smtClean="0"/>
              <a:t> dados, linhas e colunas</a:t>
            </a:r>
          </a:p>
          <a:p>
            <a:r>
              <a:rPr lang="pt-BR" sz="2000" dirty="0" smtClean="0"/>
              <a:t>Formulas  aritméticas e </a:t>
            </a:r>
            <a:r>
              <a:rPr lang="pt-BR" sz="2000" dirty="0" err="1" smtClean="0"/>
              <a:t>formulos</a:t>
            </a:r>
            <a:r>
              <a:rPr lang="pt-BR" sz="2000" dirty="0" smtClean="0"/>
              <a:t> sem argumentos (hoje, agora)</a:t>
            </a:r>
          </a:p>
          <a:p>
            <a:r>
              <a:rPr lang="pt-BR" sz="2000" dirty="0" err="1" smtClean="0"/>
              <a:t>Subtituir</a:t>
            </a:r>
            <a:r>
              <a:rPr lang="pt-BR" sz="2000" dirty="0" smtClean="0"/>
              <a:t> Formula, </a:t>
            </a:r>
            <a:r>
              <a:rPr lang="pt-BR" sz="2000" dirty="0" err="1" smtClean="0"/>
              <a:t>caracter</a:t>
            </a:r>
            <a:r>
              <a:rPr lang="pt-BR" sz="2000" dirty="0" smtClean="0"/>
              <a:t> curinga “?” e “ * “</a:t>
            </a:r>
          </a:p>
          <a:p>
            <a:r>
              <a:rPr lang="pt-BR" sz="2000" dirty="0" smtClean="0"/>
              <a:t>Referencia Absoluta e relativa</a:t>
            </a:r>
          </a:p>
          <a:p>
            <a:r>
              <a:rPr lang="pt-BR" sz="2000" dirty="0" smtClean="0"/>
              <a:t>Formatação: pincel, personalizada</a:t>
            </a:r>
          </a:p>
          <a:p>
            <a:r>
              <a:rPr lang="pt-BR" sz="2000" dirty="0" smtClean="0"/>
              <a:t>Lista e </a:t>
            </a:r>
            <a:r>
              <a:rPr lang="pt-BR" sz="2000" dirty="0" err="1" smtClean="0"/>
              <a:t>auto-preenchimento</a:t>
            </a:r>
            <a:endParaRPr lang="pt-BR" sz="2000" dirty="0" smtClean="0"/>
          </a:p>
          <a:p>
            <a:r>
              <a:rPr lang="pt-BR" sz="2000" dirty="0" smtClean="0"/>
              <a:t>Tipos de Erro em formulas</a:t>
            </a:r>
          </a:p>
          <a:p>
            <a:r>
              <a:rPr lang="pt-BR" sz="2000" dirty="0" smtClean="0"/>
              <a:t>Referencia Circulas</a:t>
            </a:r>
          </a:p>
          <a:p>
            <a:r>
              <a:rPr lang="pt-BR" sz="2000" dirty="0" smtClean="0"/>
              <a:t>Atingir Meta</a:t>
            </a:r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613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1461752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Oculta e Mostra linhas e colunas previamente “programadas” com apenas um clique e pode ter quantos níveis forem necessários. Limite de 8 níveis.</a:t>
            </a:r>
          </a:p>
          <a:p>
            <a:endParaRPr lang="pt-BR" sz="2000" dirty="0"/>
          </a:p>
          <a:p>
            <a:r>
              <a:rPr lang="pt-BR" sz="2000" dirty="0" smtClean="0"/>
              <a:t>Caminho: Guia dados&gt; grupo Estrutura de </a:t>
            </a:r>
            <a:r>
              <a:rPr lang="pt-BR" sz="2000" dirty="0" err="1" smtClean="0"/>
              <a:t>Topicos</a:t>
            </a:r>
            <a:r>
              <a:rPr lang="pt-BR" sz="2000" dirty="0" smtClean="0"/>
              <a:t>&gt; Menu Agrupar&gt;Comando Agrupar.</a:t>
            </a:r>
          </a:p>
          <a:p>
            <a:r>
              <a:rPr lang="pt-BR" sz="2000" dirty="0" smtClean="0"/>
              <a:t>Para limpar vá no menu </a:t>
            </a:r>
            <a:r>
              <a:rPr lang="pt-BR" sz="2000" dirty="0" err="1" smtClean="0"/>
              <a:t>desagrupar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grupar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Tópico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37</a:t>
            </a:r>
            <a:endParaRPr lang="pt-BR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85" y="3780268"/>
            <a:ext cx="3971925" cy="241935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67870" y="3737237"/>
            <a:ext cx="655321" cy="24053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16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 smtClean="0"/>
              <a:t>Qual o valor total de estoque que será dada a entrada no sistema (valor da célula E14 e F14)?</a:t>
            </a:r>
          </a:p>
          <a:p>
            <a:r>
              <a:rPr lang="pt-BR" sz="1800" dirty="0" smtClean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 smtClean="0"/>
          </a:p>
          <a:p>
            <a:endParaRPr lang="pt-BR" sz="1800" dirty="0"/>
          </a:p>
          <a:p>
            <a:endParaRPr lang="pt-BR" sz="1800" dirty="0" smtClean="0"/>
          </a:p>
          <a:p>
            <a:endParaRPr lang="pt-BR" sz="1800" dirty="0" smtClean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para relembrar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  <p:sp>
        <p:nvSpPr>
          <p:cNvPr id="10" name="CaixaDeTexto 9"/>
          <p:cNvSpPr txBox="1"/>
          <p:nvPr/>
        </p:nvSpPr>
        <p:spPr>
          <a:xfrm>
            <a:off x="408791" y="2779961"/>
            <a:ext cx="4593515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</a:t>
            </a:r>
            <a:r>
              <a:rPr lang="pt-BR" sz="1400" dirty="0" smtClean="0"/>
              <a:t>Descrito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</a:t>
            </a:r>
            <a:r>
              <a:rPr lang="pt-BR" sz="1400" dirty="0" smtClean="0"/>
              <a:t>inteira: </a:t>
            </a:r>
            <a:r>
              <a:rPr lang="pt-BR" sz="1400" dirty="0" err="1" smtClean="0"/>
              <a:t>Corbel</a:t>
            </a:r>
            <a:r>
              <a:rPr lang="pt-BR" sz="1400" dirty="0"/>
              <a:t>,  10, </a:t>
            </a:r>
            <a:r>
              <a:rPr lang="pt-BR" sz="1400" dirty="0" smtClean="0"/>
              <a:t>Preto, Alinhado à Direita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</a:t>
            </a:r>
            <a:r>
              <a:rPr lang="pt-BR" sz="1400" dirty="0" smtClean="0"/>
              <a:t>espesso das células em Branco.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Linhas Horizontais pontilhadas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</a:t>
            </a:r>
            <a:r>
              <a:rPr lang="pt-BR" sz="1400" dirty="0" smtClean="0"/>
              <a:t>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Formatação </a:t>
            </a:r>
            <a:r>
              <a:rPr lang="pt-BR" sz="1400" dirty="0" err="1" smtClean="0"/>
              <a:t>Dolar</a:t>
            </a:r>
            <a:r>
              <a:rPr lang="pt-BR" sz="1400" dirty="0" smtClean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smtClean="0"/>
              <a:t>Reais personalizado</a:t>
            </a:r>
            <a:r>
              <a:rPr lang="pt-BR" sz="1400" dirty="0"/>
              <a:t>: </a:t>
            </a:r>
            <a:r>
              <a:rPr lang="pt-BR" sz="1400" dirty="0" smtClean="0"/>
              <a:t>“R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Coloque um agrupamento na linha 4:5</a:t>
            </a:r>
            <a:endParaRPr lang="pt-BR" sz="1400" dirty="0"/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Abrir </a:t>
            </a:r>
            <a:r>
              <a:rPr lang="pt-BR" sz="2400" dirty="0"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Área </a:t>
            </a:r>
            <a:r>
              <a:rPr lang="pt-BR" sz="2400" dirty="0">
                <a:latin typeface="Corbel" panose="020B0503020204020204" pitchFamily="34" charset="0"/>
              </a:rPr>
              <a:t>de trabalh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Salvar </a:t>
            </a:r>
            <a:r>
              <a:rPr lang="pt-BR" sz="2400" dirty="0">
                <a:latin typeface="Corbel" panose="020B0503020204020204" pitchFamily="34" charset="0"/>
              </a:rPr>
              <a:t>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</a:t>
            </a:r>
            <a:r>
              <a:rPr lang="pt-BR" sz="2400" dirty="0" smtClean="0">
                <a:latin typeface="Corbel" panose="020B0503020204020204" pitchFamily="34" charset="0"/>
              </a:rPr>
              <a:t>us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Deletar:: acesse comando de Edição, Selecione o Balão e pressione Delete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0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r>
              <a:rPr lang="pt-BR" sz="2000" dirty="0" smtClean="0"/>
              <a:t>Qual somatória das entradas e saídas do mês?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 dia da semana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  <p:sp>
        <p:nvSpPr>
          <p:cNvPr id="5" name="Elipse 4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Função com </a:t>
            </a:r>
            <a:r>
              <a:rPr lang="pt-BR" sz="2000" dirty="0" smtClean="0"/>
              <a:t>argumento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ditar, </a:t>
            </a:r>
            <a:r>
              <a:rPr lang="pt-BR" sz="2000" dirty="0" smtClean="0"/>
              <a:t>Excluir , Inserir comentários e imagen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Ocultar e </a:t>
            </a:r>
            <a:r>
              <a:rPr lang="pt-BR" sz="2000" dirty="0" err="1" smtClean="0"/>
              <a:t>Desocultar</a:t>
            </a:r>
            <a:r>
              <a:rPr lang="pt-BR" sz="2000" dirty="0" smtClean="0"/>
              <a:t>  linha e Colun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Estrutura de Tópico – Agrupar linha e Colun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Inserir, Ocultar, </a:t>
            </a:r>
            <a:r>
              <a:rPr lang="pt-BR" sz="2000" dirty="0" err="1" smtClean="0"/>
              <a:t>Desocultar</a:t>
            </a:r>
            <a:r>
              <a:rPr lang="pt-BR" sz="2000" dirty="0" smtClean="0"/>
              <a:t>, Copiar</a:t>
            </a:r>
            <a:r>
              <a:rPr lang="pt-BR" sz="2000" dirty="0"/>
              <a:t>,</a:t>
            </a:r>
            <a:r>
              <a:rPr lang="pt-BR" sz="2000" dirty="0" smtClean="0"/>
              <a:t>  Deletar múltiplas planilh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Trabalhar com fórmulas entre planilh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ulas tridimensionai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42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1364558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ara RELEMBRAR &gt; Fórmulas e ações Tridimensionais e trabalho com Planilha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5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o resultado do exercício anterior, demonstre em uma única tabela por conta e filial como está a Despesa consolidada e a distribuição percentual por Filial. Depois, do Grupo TOTAL, como esta a distribuição por Conta?</a:t>
            </a:r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vinculo a outra planilha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4189" y="1616426"/>
            <a:ext cx="4499500" cy="191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linhas.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Classificar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91757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O Excel Permite Classificar as listas (linhas e também colunas [fig2]) automaticamente de acordo com regras pré-estabelecidas (ordem numérica ou ordem alfabética) em diversos níveis de classificação tanto crescente quando </a:t>
            </a:r>
            <a:r>
              <a:rPr lang="pt-BR" sz="1600" dirty="0" err="1" smtClean="0">
                <a:latin typeface="Corbel" panose="020B0503020204020204" pitchFamily="34" charset="0"/>
              </a:rPr>
              <a:t>descrescente</a:t>
            </a:r>
            <a:r>
              <a:rPr lang="pt-BR" sz="1600" dirty="0" smtClean="0">
                <a:latin typeface="Corbel" panose="020B0503020204020204" pitchFamily="34" charset="0"/>
              </a:rPr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EX&gt; Classificar alfabeticamente pelo </a:t>
            </a:r>
            <a:r>
              <a:rPr lang="pt-BR" sz="1600" b="1" u="sng" dirty="0" smtClean="0">
                <a:latin typeface="Corbel" panose="020B0503020204020204" pitchFamily="34" charset="0"/>
              </a:rPr>
              <a:t>Nome de Um pais </a:t>
            </a:r>
            <a:r>
              <a:rPr lang="pt-BR" sz="1600" dirty="0" smtClean="0">
                <a:latin typeface="Corbel" panose="020B0503020204020204" pitchFamily="34" charset="0"/>
              </a:rPr>
              <a:t>e depois </a:t>
            </a:r>
            <a:r>
              <a:rPr lang="pt-BR" sz="1600" b="1" u="sng" dirty="0" smtClean="0">
                <a:latin typeface="Corbel" panose="020B0503020204020204" pitchFamily="34" charset="0"/>
              </a:rPr>
              <a:t>pelo Estado</a:t>
            </a:r>
            <a:r>
              <a:rPr lang="pt-BR" sz="1600" dirty="0" smtClean="0">
                <a:latin typeface="Corbel" panose="020B0503020204020204" pitchFamily="34" charset="0"/>
              </a:rPr>
              <a:t>: 2 níveis (fig1)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Fazer ordenação: Selecionar intervalo, Guia Dados, grupo classificar e Filtrar, comando classificar (permite +1 nível de classificação) </a:t>
            </a:r>
            <a:r>
              <a:rPr lang="pt-BR" sz="1600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OU</a:t>
            </a:r>
            <a:r>
              <a:rPr lang="pt-BR" sz="1600" dirty="0" smtClean="0">
                <a:latin typeface="Corbel" panose="020B0503020204020204" pitchFamily="34" charset="0"/>
              </a:rPr>
              <a:t> Botão direito na coluna que quer usar como referencia&gt; Classificar. (somente 1 nível de classificação)</a:t>
            </a:r>
          </a:p>
          <a:p>
            <a:pPr marL="0" indent="0">
              <a:buFont typeface="Arial" charset="0"/>
              <a:buNone/>
            </a:pPr>
            <a:endParaRPr lang="pt-BR" sz="1600" dirty="0" smtClean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76" y="3937411"/>
            <a:ext cx="5223735" cy="2147275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506993" y="4077148"/>
            <a:ext cx="634701" cy="4840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" name="Conector de Seta Reta 6"/>
          <p:cNvCxnSpPr/>
          <p:nvPr/>
        </p:nvCxnSpPr>
        <p:spPr>
          <a:xfrm>
            <a:off x="4184725" y="4407496"/>
            <a:ext cx="2883049" cy="3518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0805" y="3937411"/>
            <a:ext cx="2276475" cy="1647825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1409251" y="6239435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ig1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7121562" y="5648800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ig2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Auto Filtr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inda temos uma poderosa ferramenta de analise de listas chamadas de </a:t>
            </a:r>
            <a:r>
              <a:rPr lang="pt-BR" sz="1800" dirty="0" err="1" smtClean="0">
                <a:latin typeface="Corbel" panose="020B0503020204020204" pitchFamily="34" charset="0"/>
              </a:rPr>
              <a:t>Auto-filtro</a:t>
            </a:r>
            <a:r>
              <a:rPr lang="pt-BR" sz="1800" dirty="0" smtClean="0">
                <a:latin typeface="Corbel" panose="020B0503020204020204" pitchFamily="34" charset="0"/>
              </a:rPr>
              <a:t> (somente para colunas) que agrupam automaticamente as informações repetidas e permitem deixar na tela somente o grupo que queremos analisa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smtClean="0">
                <a:latin typeface="Corbel" panose="020B0503020204020204" pitchFamily="34" charset="0"/>
              </a:rPr>
              <a:t>- Filtro por Cor , valor único ou intervalo de valores, texto, caracteres curingas ( * e  ? 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smtClean="0">
                <a:latin typeface="Corbel" panose="020B0503020204020204" pitchFamily="34" charset="0"/>
              </a:rPr>
              <a:t>-? &gt; “1 único” </a:t>
            </a:r>
            <a:r>
              <a:rPr lang="pt-BR" sz="1800" dirty="0" err="1" smtClean="0">
                <a:latin typeface="Corbel" panose="020B0503020204020204" pitchFamily="34" charset="0"/>
              </a:rPr>
              <a:t>caracter</a:t>
            </a:r>
            <a:r>
              <a:rPr lang="pt-BR" sz="1800" dirty="0" smtClean="0">
                <a:latin typeface="Corbel" panose="020B0503020204020204" pitchFamily="34" charset="0"/>
              </a:rPr>
              <a:t> qualque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smtClean="0">
                <a:latin typeface="Corbel" panose="020B0503020204020204" pitchFamily="34" charset="0"/>
              </a:rPr>
              <a:t>-* &gt; qualquer coisa serve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smtClean="0">
                <a:latin typeface="Corbel" panose="020B0503020204020204" pitchFamily="34" charset="0"/>
              </a:rPr>
              <a:t>?p*  &gt; toda as palavras onde “p” esta na segunda posição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err="1" smtClean="0">
                <a:latin typeface="Corbel" panose="020B0503020204020204" pitchFamily="34" charset="0"/>
              </a:rPr>
              <a:t>Br</a:t>
            </a:r>
            <a:r>
              <a:rPr lang="pt-BR" sz="1800" dirty="0" smtClean="0">
                <a:latin typeface="Corbel" panose="020B0503020204020204" pitchFamily="34" charset="0"/>
              </a:rPr>
              <a:t>* &gt; todas as palavras que comecem com “</a:t>
            </a:r>
            <a:r>
              <a:rPr lang="pt-BR" sz="1800" dirty="0" err="1" smtClean="0">
                <a:latin typeface="Corbel" panose="020B0503020204020204" pitchFamily="34" charset="0"/>
              </a:rPr>
              <a:t>Br</a:t>
            </a:r>
            <a:r>
              <a:rPr lang="pt-BR" sz="1800" dirty="0" smtClean="0">
                <a:latin typeface="Corbel" panose="020B0503020204020204" pitchFamily="34" charset="0"/>
              </a:rPr>
              <a:t>”.</a:t>
            </a: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 smtClean="0">
                <a:latin typeface="Corbel" panose="020B0503020204020204" pitchFamily="34" charset="0"/>
              </a:rPr>
              <a:t>Maioria das FÓRMULAS  desconsidera o FILTRO. Exceção: formula SUBTOTAL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cesso por: Selecionar intervalo de análise, Guia dados, grupo Classificar a Filtrar, Comando Filtro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(ira aparecer um “menu” no cabeçalho de cada Coluna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 </a:t>
            </a: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371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Subtota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paz de gerar em segundos um relatório resumindo uma operação (soma, media, contagem) em cada alteração do valor das linhas (</a:t>
            </a:r>
            <a:r>
              <a:rPr lang="pt-BR" sz="1800" dirty="0" err="1" smtClean="0">
                <a:latin typeface="Corbel" panose="020B0503020204020204" pitchFamily="34" charset="0"/>
              </a:rPr>
              <a:t>fig</a:t>
            </a:r>
            <a:r>
              <a:rPr lang="pt-BR" sz="1800" dirty="0" smtClean="0">
                <a:latin typeface="Corbel" panose="020B0503020204020204" pitchFamily="34" charset="0"/>
              </a:rPr>
              <a:t> 1)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Selecionar Lista (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+</a:t>
            </a:r>
            <a:r>
              <a:rPr lang="pt-BR" sz="1800" dirty="0" err="1" smtClean="0">
                <a:latin typeface="Corbel" panose="020B0503020204020204" pitchFamily="34" charset="0"/>
              </a:rPr>
              <a:t>Shit</a:t>
            </a:r>
            <a:r>
              <a:rPr lang="pt-BR" sz="1800" dirty="0" smtClean="0">
                <a:latin typeface="Corbel" panose="020B0503020204020204" pitchFamily="34" charset="0"/>
              </a:rPr>
              <a:t> +barra de espaço), Guia Dados, grupo Estrutura de Tópicos, Comando Subtotal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 smtClean="0">
                <a:latin typeface="Corbel" panose="020B0503020204020204" pitchFamily="34" charset="0"/>
              </a:rPr>
              <a:t>Use esse comando somente APÓS usar o comando de classificaçã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783" y="3276319"/>
            <a:ext cx="2771775" cy="3209925"/>
          </a:xfrm>
          <a:prstGeom prst="rect">
            <a:avLst/>
          </a:prstGeom>
        </p:spPr>
      </p:pic>
      <p:sp>
        <p:nvSpPr>
          <p:cNvPr id="3" name="Texto Explicativo Retangular com Cantos Arredondados 2"/>
          <p:cNvSpPr/>
          <p:nvPr/>
        </p:nvSpPr>
        <p:spPr>
          <a:xfrm>
            <a:off x="4388223" y="3276319"/>
            <a:ext cx="1463937" cy="2371446"/>
          </a:xfrm>
          <a:prstGeom prst="wedgeRoundRectCallout">
            <a:avLst>
              <a:gd name="adj1" fmla="val -111115"/>
              <a:gd name="adj2" fmla="val -668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/>
              <a:t>Toda vez que tiver alteração na Coluna “Empresa” o Excel vai usar a função Soma nas coluna “Mai”, “</a:t>
            </a:r>
            <a:r>
              <a:rPr lang="pt-BR" sz="1200" dirty="0" err="1" smtClean="0"/>
              <a:t>Jun</a:t>
            </a:r>
            <a:r>
              <a:rPr lang="pt-BR" sz="1200" dirty="0" smtClean="0"/>
              <a:t>”, “</a:t>
            </a:r>
            <a:r>
              <a:rPr lang="pt-BR" sz="1200" dirty="0" err="1" smtClean="0"/>
              <a:t>Ago</a:t>
            </a:r>
            <a:r>
              <a:rPr lang="pt-BR" sz="1200" dirty="0" smtClean="0"/>
              <a:t>” e “Set”.</a:t>
            </a:r>
            <a:endParaRPr lang="pt-BR" sz="12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187" y="3142084"/>
            <a:ext cx="3205505" cy="105668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187" y="5038165"/>
            <a:ext cx="4886325" cy="1219200"/>
          </a:xfrm>
          <a:prstGeom prst="rect">
            <a:avLst/>
          </a:prstGeom>
        </p:spPr>
      </p:pic>
      <p:sp>
        <p:nvSpPr>
          <p:cNvPr id="8" name="Seta para Baixo 7"/>
          <p:cNvSpPr/>
          <p:nvPr/>
        </p:nvSpPr>
        <p:spPr>
          <a:xfrm>
            <a:off x="7498080" y="4313816"/>
            <a:ext cx="462579" cy="5674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229600" y="4442908"/>
            <a:ext cx="3872753" cy="4383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xcel inseriu uma linha (Banco do Vale Total) com a Soma (4000+2073) no local onde houve alteração (De Banco do Vale para Bradesco)</a:t>
            </a:r>
            <a:endParaRPr lang="pt-BR" sz="1000" dirty="0"/>
          </a:p>
        </p:txBody>
      </p:sp>
      <p:cxnSp>
        <p:nvCxnSpPr>
          <p:cNvPr id="12" name="Conector Angulado 11"/>
          <p:cNvCxnSpPr/>
          <p:nvPr/>
        </p:nvCxnSpPr>
        <p:spPr>
          <a:xfrm>
            <a:off x="6056554" y="3863978"/>
            <a:ext cx="4840942" cy="491672"/>
          </a:xfrm>
          <a:prstGeom prst="bentConnector3">
            <a:avLst>
              <a:gd name="adj1" fmla="val 100000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>
            <a:off x="6433073" y="6301578"/>
            <a:ext cx="570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ig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42402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Sempre Leia as informações do assistente de função: elas te ajudarão a  entender como montar fórmulas mais complexas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5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387275" y="3070109"/>
            <a:ext cx="11585986" cy="3040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u="sng" dirty="0" smtClean="0"/>
              <a:t>Dicas no Uso de PROCV</a:t>
            </a:r>
            <a:endParaRPr lang="pt-BR" sz="1800" b="1" u="sng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Sempre CONGELE a referência no argumento “MATRIZ TABELA” (selecione a pressione F4)</a:t>
            </a:r>
            <a:endParaRPr lang="pt-BR" sz="1800" b="1" dirty="0">
              <a:solidFill>
                <a:srgbClr val="FF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 smtClean="0"/>
              <a:t>Argumento “</a:t>
            </a:r>
            <a:r>
              <a:rPr lang="pt-BR" sz="1800" dirty="0" err="1" smtClean="0"/>
              <a:t>Num_Indice</a:t>
            </a:r>
            <a:r>
              <a:rPr lang="pt-BR" sz="1800" dirty="0" smtClean="0"/>
              <a:t> Coluna”/ </a:t>
            </a:r>
            <a:r>
              <a:rPr lang="pt-BR" sz="1800" dirty="0" err="1" smtClean="0"/>
              <a:t>Nºda</a:t>
            </a:r>
            <a:r>
              <a:rPr lang="pt-BR" sz="1800" dirty="0" smtClean="0"/>
              <a:t> Coluna: pode ser apontado para uma célula que contem a posição  da coluna (referencia externa à formula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 smtClean="0"/>
              <a:t>O Argumento de procurar intervalo:</a:t>
            </a:r>
          </a:p>
          <a:p>
            <a:pPr algn="l"/>
            <a:r>
              <a:rPr lang="pt-BR" sz="1800" dirty="0" smtClean="0"/>
              <a:t>	</a:t>
            </a:r>
            <a:r>
              <a:rPr lang="pt-BR" sz="1800" dirty="0" err="1" smtClean="0"/>
              <a:t>Paramêtro</a:t>
            </a:r>
            <a:r>
              <a:rPr lang="pt-BR" sz="1800" dirty="0" smtClean="0"/>
              <a:t> Falso por ser substituído por “0”: será usado em 90% dos casos (casos onde procuro um CODIGO)</a:t>
            </a:r>
          </a:p>
          <a:p>
            <a:pPr algn="l"/>
            <a:r>
              <a:rPr lang="pt-BR" sz="1800" dirty="0" smtClean="0"/>
              <a:t>	Parâmetro VERDADEIRO pode ser </a:t>
            </a:r>
            <a:r>
              <a:rPr lang="pt-BR" sz="1800" dirty="0" err="1" smtClean="0"/>
              <a:t>subsituído</a:t>
            </a:r>
            <a:r>
              <a:rPr lang="pt-BR" sz="1800" dirty="0" smtClean="0"/>
              <a:t> na digitação por “1”: usado em apurações de comissão (procuro 	um intervalo).</a:t>
            </a:r>
          </a:p>
          <a:p>
            <a:pPr algn="l"/>
            <a:endParaRPr lang="pt-BR" sz="1800" dirty="0"/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81" y="1522680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5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46057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 smtClean="0"/>
              <a:t>Usar material </a:t>
            </a:r>
            <a:r>
              <a:rPr lang="pt-BR" sz="1800" b="1" i="1" u="sng" dirty="0" err="1"/>
              <a:t>Ex</a:t>
            </a:r>
            <a:r>
              <a:rPr lang="pt-BR" sz="1800" b="1" i="1" u="sng" dirty="0"/>
              <a:t> PROVC.xlsx</a:t>
            </a:r>
            <a:endParaRPr lang="pt-BR" sz="1800" b="1" i="1" u="sng" dirty="0" smtClean="0"/>
          </a:p>
        </p:txBody>
      </p:sp>
    </p:spTree>
    <p:extLst>
      <p:ext uri="{BB962C8B-B14F-4D97-AF65-F5344CB8AC3E}">
        <p14:creationId xmlns:p14="http://schemas.microsoft.com/office/powerpoint/2010/main" val="3139110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to Volume de Dados  - Banco de Dados em TXT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531607" y="1106970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pt-BR" sz="1800" dirty="0" smtClean="0"/>
              <a:t>Ao trabalhar com banco de dados, utilizar comando Texto para Colunas do Excel</a:t>
            </a:r>
            <a:endParaRPr lang="pt-BR" sz="1800" dirty="0"/>
          </a:p>
          <a:p>
            <a:pPr>
              <a:buFontTx/>
              <a:buChar char="-"/>
            </a:pPr>
            <a:r>
              <a:rPr lang="pt-BR" sz="1800" dirty="0" smtClean="0"/>
              <a:t>&gt;No comando Abrir, ou copiando do Arquivo </a:t>
            </a:r>
            <a:r>
              <a:rPr lang="pt-BR" sz="1800" dirty="0" err="1" smtClean="0"/>
              <a:t>txt</a:t>
            </a:r>
            <a:r>
              <a:rPr lang="pt-BR" sz="1800" dirty="0" smtClean="0"/>
              <a:t> e colando no Excel:</a:t>
            </a:r>
          </a:p>
          <a:p>
            <a:pPr marL="0" indent="0">
              <a:buNone/>
            </a:pPr>
            <a:r>
              <a:rPr lang="pt-BR" sz="1800" dirty="0" smtClean="0"/>
              <a:t>Com a coluna do Texto Selecionada: Guia dados&gt; Grupo Ferramenta de Dados &gt; Texto para Colunas.</a:t>
            </a:r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3 Passos para converter em Excel:</a:t>
            </a:r>
          </a:p>
          <a:p>
            <a:pPr>
              <a:buFont typeface="+mj-lt"/>
              <a:buAutoNum type="arabicPeriod"/>
            </a:pPr>
            <a:r>
              <a:rPr lang="pt-BR" sz="1800" dirty="0" smtClean="0"/>
              <a:t>Coluna com tamanho Fixo ou existe algum carácter que marca a separação de cada coluna?</a:t>
            </a:r>
          </a:p>
          <a:p>
            <a:pPr>
              <a:buFont typeface="+mj-lt"/>
              <a:buAutoNum type="arabicPeriod"/>
            </a:pPr>
            <a:r>
              <a:rPr lang="pt-BR" sz="1800" dirty="0" smtClean="0"/>
              <a:t>Onde separam-se as colunas (informar carácter ou a desenhar a divisória de coluna)</a:t>
            </a:r>
          </a:p>
          <a:p>
            <a:pPr>
              <a:buFont typeface="+mj-lt"/>
              <a:buAutoNum type="arabicPeriod"/>
            </a:pPr>
            <a:r>
              <a:rPr lang="pt-BR" sz="1800" dirty="0" smtClean="0"/>
              <a:t>Dizer o tipo de dado de cada Coluna (texto ou número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>
              <a:buFontTx/>
              <a:buChar char="-"/>
            </a:pPr>
            <a:endParaRPr lang="pt-BR" sz="1800" dirty="0" smtClean="0"/>
          </a:p>
          <a:p>
            <a:pPr marL="0" indent="0">
              <a:buNone/>
            </a:pPr>
            <a:endParaRPr lang="pt-BR" sz="1800" dirty="0" smtClean="0"/>
          </a:p>
          <a:p>
            <a:pPr>
              <a:buFontTx/>
              <a:buChar char="-"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217" y="4094078"/>
            <a:ext cx="2775305" cy="2231963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687" y="4094078"/>
            <a:ext cx="2775305" cy="223196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2747" y="4094078"/>
            <a:ext cx="2786063" cy="2240615"/>
          </a:xfrm>
          <a:prstGeom prst="rect">
            <a:avLst/>
          </a:prstGeom>
        </p:spPr>
      </p:pic>
      <p:sp>
        <p:nvSpPr>
          <p:cNvPr id="7" name="Elipse 6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42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570148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/>
              <a:t>Classificação </a:t>
            </a:r>
            <a:r>
              <a:rPr lang="pt-BR" sz="2000" dirty="0" smtClean="0"/>
              <a:t>de Listas simples (1 nível)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Classificação Avançadas (2 níveis, Colunas e personalizada)</a:t>
            </a:r>
          </a:p>
          <a:p>
            <a:pPr>
              <a:lnSpc>
                <a:spcPct val="150000"/>
              </a:lnSpc>
            </a:pPr>
            <a:r>
              <a:rPr lang="pt-BR" sz="2000" dirty="0" err="1"/>
              <a:t>Auto-agrupamento</a:t>
            </a:r>
            <a:r>
              <a:rPr lang="pt-BR" sz="2000" dirty="0"/>
              <a:t> e estrutura de tópico com relatório de </a:t>
            </a:r>
            <a:r>
              <a:rPr lang="pt-BR" sz="2000" dirty="0" smtClean="0"/>
              <a:t>Subtotal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Auto </a:t>
            </a:r>
            <a:r>
              <a:rPr lang="pt-BR" sz="2000" dirty="0" smtClean="0"/>
              <a:t>Filtro simple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esquisar no </a:t>
            </a:r>
            <a:r>
              <a:rPr lang="pt-BR" sz="2000" dirty="0" err="1" smtClean="0"/>
              <a:t>auto-filtro</a:t>
            </a:r>
            <a:r>
              <a:rPr lang="pt-BR" sz="2000" dirty="0" smtClean="0"/>
              <a:t> com </a:t>
            </a:r>
            <a:r>
              <a:rPr lang="pt-BR" sz="2000" dirty="0" err="1" smtClean="0"/>
              <a:t>caracter</a:t>
            </a:r>
            <a:r>
              <a:rPr lang="pt-BR" sz="2000" dirty="0" smtClean="0"/>
              <a:t> curing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esquisar </a:t>
            </a:r>
            <a:r>
              <a:rPr lang="pt-BR" sz="2000" dirty="0" err="1" smtClean="0"/>
              <a:t>autofiltro</a:t>
            </a:r>
            <a:r>
              <a:rPr lang="pt-BR" sz="2000" dirty="0" smtClean="0"/>
              <a:t> por cor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ula PROCV (valor exato x intervalo ) 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Referencia externa à formula no </a:t>
            </a:r>
            <a:r>
              <a:rPr lang="pt-BR" sz="2000" dirty="0" err="1" smtClean="0"/>
              <a:t>Procv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Colar especial transpor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Abrir um arquivo </a:t>
            </a:r>
            <a:r>
              <a:rPr lang="pt-BR" sz="2000" dirty="0" err="1" smtClean="0"/>
              <a:t>txt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Texto para colunas em 3 passos.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592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7749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imo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4560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5049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/>
              <a:t>Arquivo tabela de Vendedores</a:t>
            </a:r>
          </a:p>
          <a:p>
            <a:pPr>
              <a:lnSpc>
                <a:spcPct val="150000"/>
              </a:lnSpc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 smtClean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Qual Total de Comissão a pagar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3 tipos de comissão: Fixa, variável e sem comissão.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relembrar PROCV e Filtro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810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8778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/>
              <a:t>Arquivo de Vendas (Excel e </a:t>
            </a:r>
            <a:r>
              <a:rPr lang="pt-BR" sz="2000" dirty="0" err="1" smtClean="0"/>
              <a:t>txt</a:t>
            </a:r>
            <a:r>
              <a:rPr lang="pt-BR" sz="2000" dirty="0" smtClean="0"/>
              <a:t>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Qual vendedor com mais vendas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Qual Categoria de Eletrodoméstico com mais ven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Qual loja menos vendeu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Quantas (</a:t>
            </a:r>
            <a:r>
              <a:rPr lang="pt-BR" sz="2000" dirty="0" err="1" smtClean="0"/>
              <a:t>qtd</a:t>
            </a:r>
            <a:r>
              <a:rPr lang="pt-BR" sz="2000" dirty="0" smtClean="0"/>
              <a:t>) vendas foram realizadas no mês de Dezembro/14</a:t>
            </a:r>
            <a:r>
              <a:rPr lang="pt-BR" sz="2000" dirty="0" smtClean="0"/>
              <a:t>?</a:t>
            </a:r>
          </a:p>
          <a:p>
            <a:pPr marL="0" indent="0">
              <a:lnSpc>
                <a:spcPct val="150000"/>
              </a:lnSpc>
              <a:buNone/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Dica: classificação, Subtotal, </a:t>
            </a:r>
            <a:r>
              <a:rPr lang="pt-BR" sz="2000" dirty="0" err="1" smtClean="0"/>
              <a:t>Procv</a:t>
            </a:r>
            <a:r>
              <a:rPr lang="pt-BR" sz="2000" dirty="0" smtClean="0"/>
              <a:t>, Concatenar, formula Direita, abrir </a:t>
            </a:r>
            <a:r>
              <a:rPr lang="pt-BR" sz="2000" dirty="0" err="1" smtClean="0"/>
              <a:t>txt</a:t>
            </a:r>
            <a:r>
              <a:rPr lang="pt-BR" sz="2000" dirty="0" smtClean="0"/>
              <a:t>, texto para colunas (cuidado com campo de ID-Produto = manter tipo Texto)</a:t>
            </a:r>
            <a:endParaRPr lang="pt-BR" sz="2000" dirty="0" smtClean="0"/>
          </a:p>
          <a:p>
            <a:pPr>
              <a:lnSpc>
                <a:spcPct val="150000"/>
              </a:lnSpc>
            </a:pPr>
            <a:endParaRPr lang="pt-BR" sz="2000" dirty="0" smtClean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Vamos </a:t>
            </a: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lembrar PROCV e Subtotal 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336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 DE Banco de Dados e FLUXO DE LOGIC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871369"/>
            <a:ext cx="10896600" cy="465806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O Excel possui uma biblioteca de funções próprias para listas grandes. </a:t>
            </a:r>
            <a:r>
              <a:rPr lang="pt-BR" sz="1800" dirty="0" smtClean="0"/>
              <a:t>Ao </a:t>
            </a:r>
            <a:r>
              <a:rPr lang="pt-BR" sz="1800" dirty="0"/>
              <a:t>atender a </a:t>
            </a:r>
            <a:r>
              <a:rPr lang="pt-BR" sz="1800" dirty="0" smtClean="0"/>
              <a:t>1 </a:t>
            </a:r>
            <a:r>
              <a:rPr lang="pt-BR" sz="1800" dirty="0"/>
              <a:t>critério especifico, faz a soma de acordo com a parâmetro informado</a:t>
            </a:r>
            <a:r>
              <a:rPr lang="pt-BR" sz="1800" dirty="0" smtClean="0"/>
              <a:t>. As função são:</a:t>
            </a: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SOMASE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CONT.SE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MÉDIASE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Elas trabalham em conjunto com a o fluxo de símbolos abaixo que dizem qual é o Critério:</a:t>
            </a:r>
          </a:p>
          <a:p>
            <a:pPr marL="0" indent="0">
              <a:buNone/>
            </a:pPr>
            <a:r>
              <a:rPr lang="pt-BR" sz="1800" dirty="0" smtClean="0"/>
              <a:t>2) &gt; (maior do que ) ; &lt; (menor do que) ;  = (igual a ); &lt;&gt; (diferente de)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pt-BR" sz="1800" dirty="0" smtClean="0"/>
              <a:t>Usando a formula </a:t>
            </a:r>
            <a:r>
              <a:rPr lang="pt-BR" sz="1800" dirty="0" smtClean="0"/>
              <a:t> acima </a:t>
            </a:r>
            <a:r>
              <a:rPr lang="pt-BR" sz="1800" dirty="0" smtClean="0"/>
              <a:t>você consegue somar somente valores que atendam às condições proposta </a:t>
            </a:r>
            <a:r>
              <a:rPr lang="pt-BR" sz="1800" dirty="0" smtClean="0"/>
              <a:t>usando os símbolos do </a:t>
            </a:r>
            <a:r>
              <a:rPr lang="pt-BR" sz="1800" dirty="0" smtClean="0"/>
              <a:t>item 2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 smtClean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24" y="4578699"/>
            <a:ext cx="2908300" cy="155184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712" y="5093605"/>
            <a:ext cx="3517900" cy="27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94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2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Retorne no arquivo de VENDAS (exercício anterior) e </a:t>
            </a:r>
            <a:r>
              <a:rPr lang="pt-BR" sz="1800" dirty="0" smtClean="0"/>
              <a:t>usando </a:t>
            </a:r>
            <a:r>
              <a:rPr lang="pt-BR" sz="1800" dirty="0" smtClean="0"/>
              <a:t>o soma.se e cont.se qual venda média por ‘Segmento</a:t>
            </a:r>
            <a:r>
              <a:rPr lang="pt-BR" sz="1800" dirty="0" smtClean="0"/>
              <a:t>’?</a:t>
            </a: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Faça a soma de vendas para todos os  Fornecedores que começa com “</a:t>
            </a:r>
            <a:r>
              <a:rPr lang="pt-BR" sz="1800" dirty="0" err="1" smtClean="0"/>
              <a:t>Br</a:t>
            </a:r>
            <a:r>
              <a:rPr lang="pt-BR" sz="1800" dirty="0" smtClean="0"/>
              <a:t>” no nome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Faça a soma de todas as vendas desconsiderando estado de “São Paulo”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Qual a soma onde o nome do vendedor não possui nenhuma letra “E”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Qual total de vendas feitas desde Dez/2013 até hoje. E Anterior à Dez/2013?</a:t>
            </a:r>
          </a:p>
        </p:txBody>
      </p:sp>
    </p:spTree>
    <p:extLst>
      <p:ext uri="{BB962C8B-B14F-4D97-AF65-F5344CB8AC3E}">
        <p14:creationId xmlns:p14="http://schemas.microsoft.com/office/powerpoint/2010/main" val="3842816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MOVER DUPLICAD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03729" y="103166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Comando do Excel para remover automaticamente registros duplicados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Pode ser usado para uma única coluna quanto colunas combinad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Caminhos 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Guia dados&gt; Grupo Ferramenta de dados&gt; Comando Remover duplicat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Você pode selecionar uma única coluna ou intervalo inteiro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729" y="3505648"/>
            <a:ext cx="3298567" cy="164306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4919" y="3482374"/>
            <a:ext cx="3345292" cy="1666334"/>
          </a:xfrm>
          <a:prstGeom prst="rect">
            <a:avLst/>
          </a:prstGeom>
        </p:spPr>
      </p:pic>
      <p:sp>
        <p:nvSpPr>
          <p:cNvPr id="5" name="Seta para Baixo 4"/>
          <p:cNvSpPr/>
          <p:nvPr/>
        </p:nvSpPr>
        <p:spPr>
          <a:xfrm>
            <a:off x="1914861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Seta para Baixo 7"/>
          <p:cNvSpPr/>
          <p:nvPr/>
        </p:nvSpPr>
        <p:spPr>
          <a:xfrm>
            <a:off x="7510630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/>
          <p:cNvSpPr txBox="1"/>
          <p:nvPr/>
        </p:nvSpPr>
        <p:spPr>
          <a:xfrm>
            <a:off x="1161826" y="5852160"/>
            <a:ext cx="2990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Traz </a:t>
            </a:r>
            <a:r>
              <a:rPr lang="pt-BR" dirty="0" smtClean="0"/>
              <a:t>1 única linha para cada estado (estado não repete)</a:t>
            </a:r>
            <a:endParaRPr lang="pt-BR" dirty="0"/>
          </a:p>
        </p:txBody>
      </p:sp>
      <p:sp>
        <p:nvSpPr>
          <p:cNvPr id="10" name="CaixaDeTexto 9"/>
          <p:cNvSpPr txBox="1"/>
          <p:nvPr/>
        </p:nvSpPr>
        <p:spPr>
          <a:xfrm>
            <a:off x="5556491" y="5838521"/>
            <a:ext cx="58250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Trás 1 única linha para cada estado combinado com a cidade (estado ou cidade podem repetir individualmente, mas a combinação de ambos não repete)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46546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3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Retorne no arquivo de VENDAS (exercício anterior) e usando o soma.se e cont.se calcule o total de vendas e contagem de vendas para cada:</a:t>
            </a:r>
          </a:p>
          <a:p>
            <a:pPr>
              <a:buFont typeface="Arial" charset="0"/>
              <a:buAutoNum type="arabicParenR"/>
            </a:pPr>
            <a:r>
              <a:rPr lang="pt-BR" sz="1800" dirty="0" smtClean="0"/>
              <a:t>categoria,</a:t>
            </a:r>
          </a:p>
          <a:p>
            <a:pPr>
              <a:buFont typeface="Arial" charset="0"/>
              <a:buAutoNum type="arabicParenR"/>
            </a:pPr>
            <a:r>
              <a:rPr lang="pt-BR" sz="1800" dirty="0" smtClean="0"/>
              <a:t>Vendedores</a:t>
            </a:r>
          </a:p>
          <a:p>
            <a:pPr>
              <a:buFont typeface="Arial" charset="0"/>
              <a:buAutoNum type="arabicParenR"/>
            </a:pPr>
            <a:r>
              <a:rPr lang="pt-BR" sz="1800" dirty="0" smtClean="0"/>
              <a:t>e fabricantes</a:t>
            </a:r>
          </a:p>
          <a:p>
            <a:pPr>
              <a:buFont typeface="Arial" charset="0"/>
              <a:buAutoNum type="arabicParenR"/>
            </a:pPr>
            <a:r>
              <a:rPr lang="pt-BR" sz="1800" dirty="0" smtClean="0"/>
              <a:t>Produto</a:t>
            </a:r>
          </a:p>
          <a:p>
            <a:pPr>
              <a:buFont typeface="Arial" charset="0"/>
              <a:buAutoNum type="arabicParenR"/>
            </a:pPr>
            <a:r>
              <a:rPr lang="pt-BR" sz="1800" dirty="0" smtClean="0"/>
              <a:t>Cidade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Calcule o preço </a:t>
            </a:r>
            <a:r>
              <a:rPr lang="pt-BR" sz="1800" dirty="0" smtClean="0"/>
              <a:t>médio de cada um dos itens acima (total de vendas dividido pela contagem de registros).</a:t>
            </a: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214311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4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Você recebeu uma base de dados sobre as despesas da Empresa em 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 extraída do sistema ERP de um relatório da contabilidade que não possui campos de descrição do Diretor responsável (arquivo Fornecedores.txt). </a:t>
            </a:r>
          </a:p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da linha/registro  representa uma nota de pagamento</a:t>
            </a: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ruze este banco de dados com o cadastro de outro </a:t>
            </a:r>
            <a:r>
              <a:rPr lang="pt-BR" sz="1800" dirty="0">
                <a:latin typeface="Corbel" panose="020B0503020204020204" pitchFamily="34" charset="0"/>
              </a:rPr>
              <a:t>sistema (De para </a:t>
            </a:r>
            <a:r>
              <a:rPr lang="pt-BR" sz="1800" dirty="0" err="1">
                <a:latin typeface="Corbel" panose="020B0503020204020204" pitchFamily="34" charset="0"/>
              </a:rPr>
              <a:t>CCusto</a:t>
            </a:r>
            <a:r>
              <a:rPr lang="pt-BR" sz="1800" dirty="0">
                <a:latin typeface="Corbel" panose="020B0503020204020204" pitchFamily="34" charset="0"/>
              </a:rPr>
              <a:t> X </a:t>
            </a:r>
            <a:r>
              <a:rPr lang="pt-BR" sz="1800" dirty="0" smtClean="0">
                <a:latin typeface="Corbel" panose="020B0503020204020204" pitchFamily="34" charset="0"/>
              </a:rPr>
              <a:t>Fornecedores.xlsx) e descubra: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Qual o valor gasto total da empresa com “MATERIAL </a:t>
            </a:r>
            <a:r>
              <a:rPr lang="pt-BR" sz="1800" dirty="0">
                <a:latin typeface="Corbel" panose="020B0503020204020204" pitchFamily="34" charset="0"/>
              </a:rPr>
              <a:t>IMPRESSO </a:t>
            </a:r>
            <a:r>
              <a:rPr lang="pt-BR" sz="1800" dirty="0" smtClean="0">
                <a:latin typeface="Corbel" panose="020B0503020204020204" pitchFamily="34" charset="0"/>
              </a:rPr>
              <a:t>FÁBRICA”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Qual o gasto total do Diretor Silvio (para centros de custo identificados)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Quais os dados (responsável, fornecedor, diretor)  da NOTA de maior valor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aça um relatório de Gasto por Diretor (inclua diretores não identificados = vazio)</a:t>
            </a: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Dica: Converter Todos os IDS para numero (usar substituição), PROCV, Relatório Subtotal, Texto para Coluna, FILTRO, Classificação, formula banco de dados .</a:t>
            </a: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68335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O Excel possui uma biblioteca muito rica para analise visual de informação: </a:t>
            </a:r>
            <a:r>
              <a:rPr lang="pt-BR" sz="1800" dirty="0" err="1" smtClean="0"/>
              <a:t>Graficos</a:t>
            </a:r>
            <a:r>
              <a:rPr lang="pt-BR" sz="1800" dirty="0" smtClean="0"/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Principais Tipos de Gráfico:</a:t>
            </a:r>
          </a:p>
          <a:p>
            <a:r>
              <a:rPr lang="pt-BR" sz="1800" dirty="0" smtClean="0"/>
              <a:t>Linha: quando queremos analisar séries temporais</a:t>
            </a:r>
          </a:p>
          <a:p>
            <a:r>
              <a:rPr lang="pt-BR" sz="1800" dirty="0" smtClean="0"/>
              <a:t>Barra: quando queremos comparar grupos</a:t>
            </a:r>
          </a:p>
          <a:p>
            <a:r>
              <a:rPr lang="pt-BR" sz="1800" dirty="0" smtClean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2386450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5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tilize o relatório de Vendas para mostrar graficamente: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1)Durante todos o período, qual a curva de Vendas Totais mês a mês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2) Como é representado graficamente as vendas por </a:t>
            </a:r>
            <a:r>
              <a:rPr lang="pt-BR" sz="1800" dirty="0" err="1" smtClean="0"/>
              <a:t>Forncedor</a:t>
            </a:r>
            <a:r>
              <a:rPr lang="pt-BR" sz="1800" dirty="0" smtClean="0"/>
              <a:t> (barra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</a:t>
            </a:r>
            <a:r>
              <a:rPr lang="pt-BR" sz="1800" dirty="0" smtClean="0"/>
              <a:t>Quem vendeu mais /  Quem vendeu Menos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3) Mostre graficamente a participação de cada vendedor no total de venda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</a:t>
            </a:r>
            <a:r>
              <a:rPr lang="pt-BR" sz="1800" dirty="0" smtClean="0"/>
              <a:t>Quem vendeu mais / Quem vendeu Menos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3718216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lementos Gráfic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Cálculo da Equação da Reta diz qual a  TENDENCIA do comportamento dos dado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Relembrando conceito matemático do Ginásio!!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</a:t>
            </a:r>
            <a:r>
              <a:rPr lang="pt-BR" sz="1800" dirty="0" smtClean="0"/>
              <a:t>- Equação da reta: Ao obter dois pontos, é possível calcular qualquer ponto no Gráfico inclusive estimar um ponto </a:t>
            </a:r>
            <a:r>
              <a:rPr lang="pt-BR" sz="1800" dirty="0" smtClean="0"/>
              <a:t>qualquer na reta </a:t>
            </a:r>
            <a:r>
              <a:rPr lang="pt-BR" sz="1800" dirty="0" smtClean="0"/>
              <a:t>(projeção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Adicionar linha de tendência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Selecionar categoria a estimar, botão direito, adicionar tendência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Você pode ainda </a:t>
            </a:r>
            <a:r>
              <a:rPr lang="pt-BR" sz="1800" dirty="0" err="1" smtClean="0"/>
              <a:t>slecionar</a:t>
            </a:r>
            <a:r>
              <a:rPr lang="pt-BR" sz="1800" dirty="0" smtClean="0"/>
              <a:t> o tipo de equação : Linear, Exponencial, Potenciação, etc..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231342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- 6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Projete 2 anos de vendas no relatório de VENDAS. 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Faça um gráfico de linhas e estime pela equação Linear, potenciação, </a:t>
            </a:r>
            <a:r>
              <a:rPr lang="pt-BR" sz="1800" dirty="0" err="1" smtClean="0"/>
              <a:t>exponenciação</a:t>
            </a:r>
            <a:r>
              <a:rPr lang="pt-BR" sz="1800" dirty="0" smtClean="0"/>
              <a:t>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2816037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RIAR LISTA PERSONALIZADA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Guia Arquivos, Menu Opções, Menu Avançado, Espaço Geral, Editar Lista Personalizada, Selecionar lista e clicar em Importar.</a:t>
            </a: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4064205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ma Empresa em Dificuldades financeira precisa priorizar seus pagamentos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O Banco de dados a pagar esta contido no arquivo Priorização de Pagamentos. 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A empresa possui apenas 400 MIL REAIS  em caixa para realizar os pagamentos. Através das diretrizes de prioridades, separe todos os boletos que precisam ser pagos em um arquivo apartado.</a:t>
            </a: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3310186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marL="0" indent="0" algn="just">
              <a:buNone/>
            </a:pPr>
            <a:r>
              <a:rPr lang="pt-BR" sz="2000" dirty="0" smtClean="0"/>
              <a:t>Fazer </a:t>
            </a:r>
            <a:r>
              <a:rPr lang="pt-BR" sz="2000" dirty="0"/>
              <a:t>um relatório </a:t>
            </a:r>
            <a:r>
              <a:rPr lang="pt-BR" sz="2000" dirty="0" smtClean="0"/>
              <a:t>do </a:t>
            </a:r>
            <a:r>
              <a:rPr lang="pt-BR" sz="2000" dirty="0"/>
              <a:t>fluxo de caixa diário para 1 ano.</a:t>
            </a:r>
          </a:p>
          <a:p>
            <a:pPr algn="just"/>
            <a:r>
              <a:rPr lang="pt-BR" sz="2000" dirty="0" smtClean="0"/>
              <a:t>1- Cada </a:t>
            </a:r>
            <a:r>
              <a:rPr lang="pt-BR" sz="2000" dirty="0"/>
              <a:t>mês será em uma Planilha diferente</a:t>
            </a:r>
          </a:p>
          <a:p>
            <a:pPr algn="just"/>
            <a:r>
              <a:rPr lang="pt-BR" sz="2000" dirty="0" smtClean="0"/>
              <a:t>2 -Inicia </a:t>
            </a:r>
            <a:r>
              <a:rPr lang="pt-BR" sz="2000" dirty="0"/>
              <a:t>em </a:t>
            </a:r>
            <a:r>
              <a:rPr lang="pt-BR" sz="2000" dirty="0" smtClean="0"/>
              <a:t>01/01/2017 com 0 de saldo Inicial. </a:t>
            </a:r>
            <a:r>
              <a:rPr lang="pt-BR" sz="2000" dirty="0"/>
              <a:t>Termina em </a:t>
            </a:r>
            <a:r>
              <a:rPr lang="pt-BR" sz="2000" dirty="0" smtClean="0"/>
              <a:t>31/12/2017.</a:t>
            </a:r>
            <a:endParaRPr lang="pt-BR" sz="2000" dirty="0"/>
          </a:p>
          <a:p>
            <a:pPr algn="just"/>
            <a:r>
              <a:rPr lang="pt-BR" sz="2000" dirty="0" smtClean="0"/>
              <a:t>3- </a:t>
            </a:r>
            <a:r>
              <a:rPr lang="pt-BR" sz="2000" dirty="0"/>
              <a:t>Toda terça tem pagamento de fornecedor no valor de 9.000 e às terças de 8.000.</a:t>
            </a:r>
            <a:endParaRPr lang="pt-BR" sz="2000" dirty="0" smtClean="0"/>
          </a:p>
          <a:p>
            <a:pPr algn="just"/>
            <a:r>
              <a:rPr lang="pt-BR" sz="2000" dirty="0" smtClean="0"/>
              <a:t>4 -Todo </a:t>
            </a:r>
            <a:r>
              <a:rPr lang="pt-BR" sz="2000" dirty="0"/>
              <a:t>dia </a:t>
            </a:r>
            <a:r>
              <a:rPr lang="pt-BR" sz="2000" dirty="0" smtClean="0"/>
              <a:t>5 </a:t>
            </a:r>
            <a:r>
              <a:rPr lang="pt-BR" sz="2000" dirty="0"/>
              <a:t>e dia </a:t>
            </a:r>
            <a:r>
              <a:rPr lang="pt-BR" sz="2000" dirty="0" smtClean="0"/>
              <a:t>20 </a:t>
            </a:r>
            <a:r>
              <a:rPr lang="pt-BR" sz="2000" dirty="0"/>
              <a:t>de cada mês tem despesa adicional de </a:t>
            </a:r>
            <a:r>
              <a:rPr lang="pt-BR" sz="2000" dirty="0" smtClean="0"/>
              <a:t>15.000 </a:t>
            </a:r>
            <a:r>
              <a:rPr lang="pt-BR" sz="2000" dirty="0"/>
              <a:t>e </a:t>
            </a:r>
            <a:r>
              <a:rPr lang="pt-BR" sz="2000" dirty="0" smtClean="0"/>
              <a:t>7.000 </a:t>
            </a:r>
            <a:r>
              <a:rPr lang="pt-BR" sz="2000" dirty="0"/>
              <a:t>respectivamente.</a:t>
            </a:r>
          </a:p>
          <a:p>
            <a:pPr algn="just"/>
            <a:r>
              <a:rPr lang="pt-BR" sz="2000" dirty="0" smtClean="0"/>
              <a:t>5- A </a:t>
            </a:r>
            <a:r>
              <a:rPr lang="pt-BR" sz="2000" dirty="0"/>
              <a:t>partir de setembro, todos os pagamentos aumentam 7%.</a:t>
            </a:r>
          </a:p>
          <a:p>
            <a:pPr algn="just"/>
            <a:r>
              <a:rPr lang="pt-BR" sz="2000" dirty="0" smtClean="0"/>
              <a:t>6 – Os recebimentos de </a:t>
            </a:r>
            <a:r>
              <a:rPr lang="pt-BR" sz="2000" dirty="0"/>
              <a:t>vendas são depositadas todas as segundas no valor de </a:t>
            </a:r>
            <a:r>
              <a:rPr lang="pt-BR" sz="2000" dirty="0" smtClean="0"/>
              <a:t>21.000 (constantes o  ano inteiro)</a:t>
            </a:r>
          </a:p>
          <a:p>
            <a:pPr algn="just"/>
            <a:r>
              <a:rPr lang="pt-BR" sz="2000" dirty="0" smtClean="0"/>
              <a:t>7- Os recebimentos de venda de sucata são depositadas às </a:t>
            </a:r>
            <a:r>
              <a:rPr lang="pt-BR" sz="2000" dirty="0"/>
              <a:t>quartas no valor de </a:t>
            </a:r>
            <a:r>
              <a:rPr lang="pt-BR" sz="2000" dirty="0" smtClean="0"/>
              <a:t>3.000 </a:t>
            </a:r>
            <a:r>
              <a:rPr lang="pt-BR" sz="2000" dirty="0"/>
              <a:t>(</a:t>
            </a:r>
            <a:r>
              <a:rPr lang="pt-BR" sz="2000" dirty="0" smtClean="0"/>
              <a:t>constantes </a:t>
            </a:r>
            <a:r>
              <a:rPr lang="pt-BR" sz="2000" dirty="0"/>
              <a:t>ano </a:t>
            </a:r>
            <a:r>
              <a:rPr lang="pt-BR" sz="2000" dirty="0" smtClean="0"/>
              <a:t>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No fim do ano haverá </a:t>
            </a:r>
            <a:r>
              <a:rPr lang="pt-BR" sz="2000" dirty="0"/>
              <a:t>sobra ou falta de caixa? Quanto? Destaque pela cor vermelha a  planilha referente ao mês de menor </a:t>
            </a:r>
            <a:r>
              <a:rPr lang="pt-BR" sz="2000" dirty="0" smtClean="0"/>
              <a:t>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use a planilha anterior, copia de planilhas e formatação, referência externa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 Criar relatório de fluxo de caixa de 1 ano com entradas, saídas e saldo.</a:t>
            </a:r>
          </a:p>
          <a:p>
            <a:pPr algn="just"/>
            <a:r>
              <a:rPr lang="pt-BR" sz="2000" dirty="0" smtClean="0"/>
              <a:t>1 - Um mês em cada planilha.</a:t>
            </a:r>
          </a:p>
          <a:p>
            <a:pPr algn="just"/>
            <a:r>
              <a:rPr lang="pt-BR" sz="2000" dirty="0" smtClean="0"/>
              <a:t>2 - Entrada/Recebimentos  Às terças de R$ 3.000, demais dias de R$ 2.000 (bruto)</a:t>
            </a:r>
          </a:p>
          <a:p>
            <a:pPr algn="just"/>
            <a:r>
              <a:rPr lang="pt-BR" sz="2000" dirty="0" smtClean="0"/>
              <a:t>3 - Saídas/Pagamentos as quintas de R$ 4.000, demais dias de R$ 1.600 (bruto)</a:t>
            </a:r>
          </a:p>
          <a:p>
            <a:pPr algn="just"/>
            <a:r>
              <a:rPr lang="pt-BR" sz="2000" dirty="0" smtClean="0"/>
              <a:t>4 - Todo dia 15 de cada mês, saída adicional de 6.000 (bruto)</a:t>
            </a:r>
          </a:p>
          <a:p>
            <a:pPr algn="just"/>
            <a:r>
              <a:rPr lang="pt-BR" sz="2000" dirty="0" smtClean="0"/>
              <a:t>5 - calcular imposto ICMS de 18% sobre entrada/recebimentos + </a:t>
            </a:r>
            <a:r>
              <a:rPr lang="pt-BR" sz="2000" dirty="0" err="1" smtClean="0"/>
              <a:t>Pis</a:t>
            </a:r>
            <a:r>
              <a:rPr lang="pt-BR" sz="2000" dirty="0" smtClean="0"/>
              <a:t>/</a:t>
            </a:r>
            <a:r>
              <a:rPr lang="pt-BR" sz="2000" dirty="0" err="1" smtClean="0"/>
              <a:t>Cofins</a:t>
            </a:r>
            <a:r>
              <a:rPr lang="pt-BR" sz="2000" dirty="0" smtClean="0"/>
              <a:t> de 9,25%.</a:t>
            </a:r>
          </a:p>
          <a:p>
            <a:pPr algn="just"/>
            <a:r>
              <a:rPr lang="pt-BR" sz="2000" dirty="0" smtClean="0"/>
              <a:t>6 - calcular imposto de 9,25% sobre saída/pagamentos.</a:t>
            </a:r>
          </a:p>
          <a:p>
            <a:pPr algn="just"/>
            <a:r>
              <a:rPr lang="pt-BR" sz="2000" dirty="0" smtClean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 smtClean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Fórmula soma 3D, formula aritmética, formatação, copia de planilhas, referência externa.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 smtClean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 smtClean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2- Mostre os dados acima em uma única aba de forma que possamos comparar entre os meses.</a:t>
            </a:r>
          </a:p>
          <a:p>
            <a:pPr algn="just"/>
            <a:r>
              <a:rPr lang="pt-BR" sz="2000" dirty="0" smtClean="0"/>
              <a:t>Dica: Recortar e colar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nsciência</a:t>
            </a:r>
            <a:endParaRPr lang="pt-BR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mpetência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º</a:t>
            </a:r>
            <a:endParaRPr lang="pt-BR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º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º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º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42</TotalTime>
  <Words>5166</Words>
  <Application>Microsoft Office PowerPoint</Application>
  <PresentationFormat>Widescreen</PresentationFormat>
  <Paragraphs>672</Paragraphs>
  <Slides>72</Slides>
  <Notes>0</Notes>
  <HiddenSlides>7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72</vt:i4>
      </vt:variant>
    </vt:vector>
  </HeadingPairs>
  <TitlesOfParts>
    <vt:vector size="78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win10-2</cp:lastModifiedBy>
  <cp:revision>357</cp:revision>
  <dcterms:created xsi:type="dcterms:W3CDTF">2018-08-19T15:50:37Z</dcterms:created>
  <dcterms:modified xsi:type="dcterms:W3CDTF">2018-11-23T22:51:09Z</dcterms:modified>
</cp:coreProperties>
</file>